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2" r:id="rId7"/>
    <p:sldId id="263" r:id="rId8"/>
    <p:sldId id="261" r:id="rId9"/>
    <p:sldId id="264" r:id="rId10"/>
    <p:sldId id="265" r:id="rId11"/>
  </p:sldIdLst>
  <p:sldSz cx="12192000" cy="6858000"/>
  <p:notesSz cx="6858000" cy="9144000"/>
  <p:custDataLst>
    <p:tags r:id="rId12"/>
  </p:custDataLst>
  <p:defaultTextStyle>
    <a:defPPr>
      <a:defRPr lang="ar-EG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4CF8B2-F085-57C1-9252-E0DF67F87A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6F0E792-F27A-3CF5-C5B0-61CA84ADFE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92D4E3-7F36-E06B-05D5-286B93E54B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BAAA8-E9E9-4853-985F-7CDD1BDEAC49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230CF9-4004-C71D-A6CB-58A3841765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E16E39-81CA-518C-E37A-C10AA470A4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C3DD3-1A35-43E6-95AE-27CE5DE925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38642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20E6CB-D141-61F7-AF17-E7677AD47C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0759EF5-BBDE-A9CE-B941-1FCB58206D4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DD9ED8-7D02-D6D4-F157-C1FD0C2686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BAAA8-E9E9-4853-985F-7CDD1BDEAC49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D941FC-A755-8EA4-6404-E234F637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3F5F48-E326-B6C0-9A34-4A55FA7E0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C3DD3-1A35-43E6-95AE-27CE5DE925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67104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304A81D-FD4F-5BD5-AC18-33F128990F0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27081A1-5328-23F6-95C5-9F06221CA8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076D0A-9B29-03DD-DD81-CB258A95E1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BAAA8-E9E9-4853-985F-7CDD1BDEAC49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4499F3-1D51-DF11-18FA-E50873E03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C3AB99-092B-3269-3D27-CE12DA8E86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C3DD3-1A35-43E6-95AE-27CE5DE925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15722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CCDC13-EF19-C14B-3090-9CDCA67D88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DBB0A6-A096-4F00-8889-0E93706475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C0F5CB-8D10-98F5-56F3-911DA242E1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BAAA8-E9E9-4853-985F-7CDD1BDEAC49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4E1792-69C0-88E3-AE45-23F0DCC9AF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BA0EB3-24A4-2E19-3658-56D756D0C3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C3DD3-1A35-43E6-95AE-27CE5DE925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47361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B73183-E8FB-09DA-732D-00EA5E14D5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7E1880-81D8-1009-3AEC-88173F84C2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823B81-4B31-85F9-6047-912471378D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BAAA8-E9E9-4853-985F-7CDD1BDEAC49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1DB1DA-D20E-1B55-0808-36F2042FEE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174A36-87E1-3077-943F-A6C47D866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C3DD3-1A35-43E6-95AE-27CE5DE925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59520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67FD54-69A6-06C1-29FF-C2CA2DC960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45D3A5-1622-D64B-8A1F-E53892C137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5B51F5-1A05-CD9C-65C9-B753DFE2EA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7DF19A3-19B7-175D-E1F7-3705C8BD62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BAAA8-E9E9-4853-985F-7CDD1BDEAC49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D1AE38-B760-1340-6ADE-B52E646A8D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33A93E-B2FB-AF74-CBF2-32493742F4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C3DD3-1A35-43E6-95AE-27CE5DE925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33762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B30786-BF62-62E8-A5BC-66B383614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AB987E-D151-0AB0-1136-ADF2688D3B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A7480A-9B47-2864-7623-7DE992FC57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5494EE9-510F-6382-118C-4D7F1F8FFA5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96E7848-A42D-EF7C-45AB-603A041D6E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4E5EFFE-41B5-CD84-8F1B-E963912E5C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BAAA8-E9E9-4853-985F-7CDD1BDEAC49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A29DD57-2DBB-BE51-F098-B0BA77D207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4A596F8-FDDF-4C4D-0D65-A5C44290A3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C3DD3-1A35-43E6-95AE-27CE5DE925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3917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FEBEE-82CA-7350-9F69-43E606B845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0E2554-37F3-DE75-74E2-47DBC0ED39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BAAA8-E9E9-4853-985F-7CDD1BDEAC49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BD1408-C4C6-FF2A-5B2C-C21A0EC20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DE1F16-FA7B-D30C-2FF5-6729C3BE7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C3DD3-1A35-43E6-95AE-27CE5DE925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96967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2F51C0-6D80-F2AC-1F5E-5833952194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BAAA8-E9E9-4853-985F-7CDD1BDEAC49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9A2199F-FEB7-12A4-E078-EEE4C2C2E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61D11C-A765-B5E4-9A89-DCABC97A5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C3DD3-1A35-43E6-95AE-27CE5DE925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01783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5F7E40-4993-2048-8C82-D9D068C91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3EE255-10B1-9F6B-DE35-20D3FA91A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CAE7CB-2309-0F72-1AE8-1D6D5897F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0018E92-D90E-8EF7-5592-25C4BD046D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BAAA8-E9E9-4853-985F-7CDD1BDEAC49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3E6238-2B23-FA59-4ED9-35B35E0830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0EC8DFA-E906-670F-0776-BB27F5BF9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C3DD3-1A35-43E6-95AE-27CE5DE925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96491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678239-184B-29E5-DC1D-68D3F4613D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BE419CB-9FB0-AB04-2F58-305B8F0C0D7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70AFFC-DC09-8EEC-36BF-EBCA707932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20BDF7-224D-67CB-7F41-01145C6B8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BAAA8-E9E9-4853-985F-7CDD1BDEAC49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03430C4-F584-975D-3C86-1795C43C9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A61CB2-BF6D-42E7-BD7A-B67AEBD4F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C3DD3-1A35-43E6-95AE-27CE5DE925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40558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6289847-68DE-C159-E3C4-11E8389931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93610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9D8937C-6AEF-181A-9817-5236D3D9B3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1B68AE-F763-81EB-474D-0D5FF4FCA9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76BE84-83D8-FC58-B17A-51EBAE533E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1BAAA8-E9E9-4853-985F-7CDD1BDEAC49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4CB5E1-E64A-8DDD-0BB2-A7D4936269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F4E516-41AF-BE59-B7CB-748505D29F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BC3DD3-1A35-43E6-95AE-27CE5DE925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7027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ar-EG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hyperlink" Target="https://github.com/HossamHeikal/AIS-data-pipeline#ais-data-pipeline" TargetMode="Externa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1.JP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9.png"/><Relationship Id="rId5" Type="http://schemas.openxmlformats.org/officeDocument/2006/relationships/hyperlink" Target="http://localhost:3000/" TargetMode="Externa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0.JP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B6B21AE-62EF-5E5D-48F0-77DB46059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59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055A5C5-86B6-2C05-FC4C-2AD70E52E28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US" b="1" i="0" u="none" strike="noStrike" dirty="0">
                <a:solidFill>
                  <a:srgbClr val="1F2328"/>
                </a:solidFill>
                <a:effectLst/>
                <a:latin typeface="-apple-system"/>
                <a:hlinkClick r:id="rId5"/>
              </a:rPr>
              <a:t>AIS-data-pipeline</a:t>
            </a:r>
            <a:br>
              <a:rPr lang="en-US" b="1" i="0" dirty="0">
                <a:solidFill>
                  <a:srgbClr val="1F2328"/>
                </a:solidFill>
                <a:effectLst/>
                <a:latin typeface="-apple-system"/>
              </a:rPr>
            </a:b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B36C3E-CB22-84FC-1324-779B4B977B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033867"/>
            <a:ext cx="9144000" cy="1655762"/>
          </a:xfrm>
        </p:spPr>
        <p:txBody>
          <a:bodyPr>
            <a:normAutofit/>
          </a:bodyPr>
          <a:lstStyle/>
          <a:p>
            <a:r>
              <a:rPr lang="en-GB" sz="1600" b="0" i="0" dirty="0">
                <a:solidFill>
                  <a:srgbClr val="1F2328"/>
                </a:solidFill>
                <a:effectLst/>
              </a:rPr>
              <a:t>End-to-End Automated Data Pipeline: From Data Acquisition to Visualization with </a:t>
            </a:r>
            <a:r>
              <a:rPr lang="en-GB" sz="1600" b="0" i="0" dirty="0" err="1">
                <a:solidFill>
                  <a:srgbClr val="1F2328"/>
                </a:solidFill>
                <a:effectLst/>
              </a:rPr>
              <a:t>Dockerized</a:t>
            </a:r>
            <a:r>
              <a:rPr lang="en-GB" sz="1600" b="0" i="0" dirty="0">
                <a:solidFill>
                  <a:srgbClr val="1F2328"/>
                </a:solidFill>
                <a:effectLst/>
              </a:rPr>
              <a:t> Spark, HDFS, and Airflow, Postgres and </a:t>
            </a:r>
            <a:r>
              <a:rPr lang="en-GB" sz="1600" b="0" i="0" dirty="0" err="1">
                <a:solidFill>
                  <a:srgbClr val="1F2328"/>
                </a:solidFill>
                <a:effectLst/>
              </a:rPr>
              <a:t>metabase</a:t>
            </a:r>
            <a:r>
              <a:rPr lang="en-GB" sz="1600" b="0" i="0" dirty="0">
                <a:solidFill>
                  <a:srgbClr val="1F2328"/>
                </a:solidFill>
                <a:effectLst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269729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96E0A2A-CE87-D267-9F7D-C78F3682DB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6E0A2A-CE87-D267-9F7D-C78F3682DB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3E7AC9-B58C-7D23-9443-319425014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Metabase</a:t>
            </a:r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DDEDC22-AB6A-090D-4B13-A04819E536E4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Run a Query and visualize the top 10 destinations</a:t>
            </a:r>
          </a:p>
          <a:p>
            <a:r>
              <a:rPr lang="en-US" sz="1800" dirty="0"/>
              <a:t>You can choose from a variety of charts to visualize data and create dashboards</a:t>
            </a:r>
            <a:endParaRPr lang="en-GB" sz="18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025826F-63F4-E2E2-9F40-ADC50E2791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8598" y="2702096"/>
            <a:ext cx="7608163" cy="3609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1125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8AB5B94-FE6E-1C90-8556-5B9AC4CEB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5005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3778BE1-DA09-36B6-A1B8-5BA1666D6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ipeline Architecture</a:t>
            </a:r>
            <a:endParaRPr lang="en-GB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1D3A4C83-0094-F27A-7A38-C03548F8DEC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6301" y="3316333"/>
            <a:ext cx="2213578" cy="855135"/>
          </a:xfr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D6D14DB-77F4-E02E-D36D-33A9A28E1527}"/>
              </a:ext>
            </a:extLst>
          </p:cNvPr>
          <p:cNvSpPr txBox="1">
            <a:spLocks/>
          </p:cNvSpPr>
          <p:nvPr/>
        </p:nvSpPr>
        <p:spPr>
          <a:xfrm>
            <a:off x="458680" y="3497802"/>
            <a:ext cx="2796387" cy="10386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1F2328"/>
                </a:solidFill>
                <a:latin typeface="+mn-lt"/>
              </a:rPr>
              <a:t>AIS-data</a:t>
            </a:r>
            <a:br>
              <a:rPr lang="en-US" b="1" dirty="0">
                <a:solidFill>
                  <a:srgbClr val="1F2328"/>
                </a:solidFill>
                <a:latin typeface="+mn-lt"/>
              </a:rPr>
            </a:br>
            <a:endParaRPr lang="en-GB" dirty="0">
              <a:latin typeface="+mn-lt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6FAF3A0-D2BF-D9F7-15EF-506A18C6C496}"/>
              </a:ext>
            </a:extLst>
          </p:cNvPr>
          <p:cNvCxnSpPr>
            <a:cxnSpLocks/>
            <a:endCxn id="5" idx="1"/>
          </p:cNvCxnSpPr>
          <p:nvPr/>
        </p:nvCxnSpPr>
        <p:spPr>
          <a:xfrm>
            <a:off x="2441359" y="3743901"/>
            <a:ext cx="159494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D504593E-0D5F-9C94-E5DC-0CC8A54192F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2306" y="3134798"/>
            <a:ext cx="1247595" cy="1218205"/>
          </a:xfrm>
          <a:prstGeom prst="rect">
            <a:avLst/>
          </a:prstGeom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5BF5CE8-3E52-5833-9808-49FA9C143DFA}"/>
              </a:ext>
            </a:extLst>
          </p:cNvPr>
          <p:cNvCxnSpPr>
            <a:cxnSpLocks/>
            <a:stCxn id="5" idx="3"/>
            <a:endCxn id="12" idx="1"/>
          </p:cNvCxnSpPr>
          <p:nvPr/>
        </p:nvCxnSpPr>
        <p:spPr>
          <a:xfrm>
            <a:off x="6249879" y="3743901"/>
            <a:ext cx="96242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038BEE7D-9FE3-6CBC-454F-9EA156FA9F1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3159" y="3343795"/>
            <a:ext cx="2191339" cy="800209"/>
          </a:xfrm>
          <a:prstGeom prst="rect">
            <a:avLst/>
          </a:prstGeom>
        </p:spPr>
      </p:pic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73E0749E-C801-E464-BA58-F5192A7AB012}"/>
              </a:ext>
            </a:extLst>
          </p:cNvPr>
          <p:cNvCxnSpPr>
            <a:cxnSpLocks/>
            <a:stCxn id="12" idx="3"/>
            <a:endCxn id="20" idx="1"/>
          </p:cNvCxnSpPr>
          <p:nvPr/>
        </p:nvCxnSpPr>
        <p:spPr>
          <a:xfrm flipV="1">
            <a:off x="8459901" y="3743900"/>
            <a:ext cx="1173258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3287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4549FEE-AF74-FB9A-B408-097F224F6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4780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E45F94-69C7-0E08-106A-9CDE6C4265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092" y="116550"/>
            <a:ext cx="10515600" cy="1325563"/>
          </a:xfrm>
        </p:spPr>
        <p:txBody>
          <a:bodyPr vert="horz"/>
          <a:lstStyle/>
          <a:p>
            <a:r>
              <a:rPr lang="en-US" dirty="0"/>
              <a:t>Overview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C82E9D-BA1A-74D7-F67F-A9DD071447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94" y="1313895"/>
            <a:ext cx="10758996" cy="5069150"/>
          </a:xfrm>
        </p:spPr>
        <p:txBody>
          <a:bodyPr>
            <a:normAutofit fontScale="92500" lnSpcReduction="20000"/>
          </a:bodyPr>
          <a:lstStyle/>
          <a:p>
            <a:pPr marL="0" indent="0" algn="l">
              <a:buNone/>
            </a:pPr>
            <a:r>
              <a:rPr lang="en-US" sz="1800" i="0" dirty="0">
                <a:effectLst/>
              </a:rPr>
              <a:t>Objective: </a:t>
            </a:r>
          </a:p>
          <a:p>
            <a:pPr algn="l"/>
            <a:r>
              <a:rPr lang="en-US" sz="1300" b="0" i="0" dirty="0">
                <a:effectLst/>
              </a:rPr>
              <a:t>Create an automated system for data workflow from download to visualization.</a:t>
            </a:r>
          </a:p>
          <a:p>
            <a:pPr marL="0" indent="0" algn="l">
              <a:buNone/>
            </a:pPr>
            <a:r>
              <a:rPr lang="en-US" sz="1800" b="0" i="0" dirty="0">
                <a:effectLst/>
              </a:rPr>
              <a:t>Key Elements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300" b="0" i="0" dirty="0">
                <a:effectLst/>
              </a:rPr>
              <a:t>Utilizes AIS data for maritime traffic analysi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300" b="0" i="0" dirty="0">
                <a:effectLst/>
              </a:rPr>
              <a:t>Incorporates Docker, Apache Spark, HDFS, PostgreSQL, </a:t>
            </a:r>
            <a:r>
              <a:rPr lang="en-US" sz="1300" b="0" i="0" dirty="0" err="1">
                <a:effectLst/>
              </a:rPr>
              <a:t>Metabase</a:t>
            </a:r>
            <a:r>
              <a:rPr lang="en-US" sz="1300" b="0" i="0" dirty="0">
                <a:effectLst/>
              </a:rPr>
              <a:t>, and Airflow.</a:t>
            </a:r>
          </a:p>
          <a:p>
            <a:pPr algn="l"/>
            <a:r>
              <a:rPr lang="en-US" sz="1300" b="0" i="0" dirty="0">
                <a:effectLst/>
              </a:rPr>
              <a:t>Process Overview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300" b="0" i="0" dirty="0">
                <a:effectLst/>
              </a:rPr>
              <a:t>Environment setup with Docker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300" b="0" i="0" dirty="0">
                <a:effectLst/>
              </a:rPr>
              <a:t>Data download/storage automation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300" b="0" i="0" dirty="0">
                <a:effectLst/>
              </a:rPr>
              <a:t>Daily task scheduling with Airflow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300" b="0" i="0" dirty="0">
                <a:effectLst/>
              </a:rPr>
              <a:t>Data cleaning and destination analysis.</a:t>
            </a:r>
          </a:p>
          <a:p>
            <a:pPr marL="0" indent="0" algn="l">
              <a:buNone/>
            </a:pPr>
            <a:r>
              <a:rPr lang="en-US" sz="1800" i="0" dirty="0">
                <a:effectLst/>
              </a:rPr>
              <a:t>Outcome</a:t>
            </a:r>
            <a:r>
              <a:rPr lang="en-US" sz="1300" b="0" i="0" dirty="0">
                <a:effectLst/>
              </a:rPr>
              <a:t>: </a:t>
            </a:r>
          </a:p>
          <a:p>
            <a:pPr algn="l"/>
            <a:r>
              <a:rPr lang="en-US" sz="1300" b="0" i="0" dirty="0">
                <a:effectLst/>
              </a:rPr>
              <a:t>Streamlined daily data processing for analysis readiness.</a:t>
            </a:r>
          </a:p>
          <a:p>
            <a:pPr marL="0" indent="0" algn="l">
              <a:buNone/>
            </a:pPr>
            <a:r>
              <a:rPr lang="en-US" sz="1800" b="0" i="0" dirty="0">
                <a:effectLst/>
              </a:rPr>
              <a:t>Recommendations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300" b="0" i="0" dirty="0">
                <a:effectLst/>
              </a:rPr>
              <a:t>Add error-handling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300" b="0" i="0" dirty="0">
                <a:effectLst/>
              </a:rPr>
              <a:t>Visualize with PostgreSQL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300" b="0" i="0" dirty="0">
                <a:effectLst/>
              </a:rPr>
              <a:t>Regular system monitoring.</a:t>
            </a:r>
          </a:p>
          <a:p>
            <a:pPr marL="0" indent="0">
              <a:buNone/>
            </a:pPr>
            <a:r>
              <a:rPr lang="en-GB" sz="2100" dirty="0"/>
              <a:t>Note: </a:t>
            </a:r>
          </a:p>
          <a:p>
            <a:r>
              <a:rPr lang="en-GB" sz="1300" dirty="0"/>
              <a:t>The code used get the data from the local directory to ease the process of testing the pipeline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41605041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6ABD783-2DF4-1D46-8282-7AC869DE83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667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58E33D-5795-DD53-8D17-F8F2F0A6D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unning containers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460F03-0640-36B1-B3A4-5E2997DE0D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After building the image for Airflow using a python base image </a:t>
            </a:r>
          </a:p>
          <a:p>
            <a:r>
              <a:rPr lang="en-US" sz="2000" dirty="0"/>
              <a:t>Run </a:t>
            </a:r>
            <a:r>
              <a:rPr lang="en-GB" sz="2000" dirty="0"/>
              <a:t>docker-compose up --scale spark-worker=2  -d to create two spark worker</a:t>
            </a:r>
          </a:p>
          <a:p>
            <a:r>
              <a:rPr lang="en-GB" sz="2000" dirty="0"/>
              <a:t>Containers should look like this in docker desktop</a:t>
            </a:r>
            <a:endParaRPr lang="en-US" sz="2000" dirty="0"/>
          </a:p>
          <a:p>
            <a:endParaRPr lang="en-GB" sz="20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E6DBA99-7BB4-4A21-D899-8FB92C38FE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02998" y="2988308"/>
            <a:ext cx="5992427" cy="3261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1423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8954BBE-651F-5C16-9DCE-4FA0F4DAEC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9430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EE6DE-A829-C4E2-CA6F-987701100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irflow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CF025C-78F4-DFBF-B2A2-AF6ACF6EA5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Log in on </a:t>
            </a:r>
            <a:r>
              <a:rPr lang="en-US" sz="2000" b="1" dirty="0"/>
              <a:t>http://localhost:8081/login/ </a:t>
            </a:r>
            <a:endParaRPr lang="en-GB" sz="2000" b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63A0AA-D855-18A7-63D9-6619E1422B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2774" y="2734322"/>
            <a:ext cx="8983772" cy="3127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2152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8954BBE-651F-5C16-9DCE-4FA0F4DAEC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954BBE-651F-5C16-9DCE-4FA0F4DAEC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EE6DE-A829-C4E2-CA6F-987701100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irflow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CF025C-78F4-DFBF-B2A2-AF6ACF6EA5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Create a spark connection on</a:t>
            </a:r>
            <a:endParaRPr lang="en-GB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91500FA-EB05-D50F-160C-F55DEA18E2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82571" y="2227569"/>
            <a:ext cx="8513686" cy="4084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311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8954BBE-651F-5C16-9DCE-4FA0F4DAEC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954BBE-651F-5C16-9DCE-4FA0F4DAEC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EE6DE-A829-C4E2-CA6F-987701100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irflow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CF025C-78F4-DFBF-B2A2-AF6ACF6EA5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Run and monitor Dag</a:t>
            </a:r>
          </a:p>
          <a:p>
            <a:endParaRPr lang="en-GB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66A159-1426-E7FD-F07D-0AC8F611DD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38652" y="2291211"/>
            <a:ext cx="7714695" cy="3645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4772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BD0421B-444E-93E1-1CFB-E9CB732246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963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300387-BAC7-C047-46C6-23B3717A08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Metabas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5DAC42-021F-99FC-B98B-73177A9F15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Once the </a:t>
            </a:r>
            <a:r>
              <a:rPr lang="en-US" sz="1800" dirty="0" err="1"/>
              <a:t>dag</a:t>
            </a:r>
            <a:r>
              <a:rPr lang="en-US" sz="1800" dirty="0"/>
              <a:t> is done go to </a:t>
            </a:r>
            <a:r>
              <a:rPr lang="en-US" sz="1800" dirty="0">
                <a:hlinkClick r:id="rId5"/>
              </a:rPr>
              <a:t>http://localhost:3000/</a:t>
            </a:r>
            <a:r>
              <a:rPr lang="en-US" sz="1800" dirty="0"/>
              <a:t> to access </a:t>
            </a:r>
            <a:r>
              <a:rPr lang="en-US" sz="1800" dirty="0" err="1"/>
              <a:t>metabase</a:t>
            </a:r>
            <a:endParaRPr lang="en-US" sz="1800" dirty="0"/>
          </a:p>
          <a:p>
            <a:r>
              <a:rPr lang="en-US" sz="1800" dirty="0"/>
              <a:t>Sign up and add the </a:t>
            </a:r>
            <a:r>
              <a:rPr lang="en-US" sz="1800" dirty="0" err="1"/>
              <a:t>postgres</a:t>
            </a:r>
            <a:r>
              <a:rPr lang="en-US" sz="1800" dirty="0"/>
              <a:t> credentials</a:t>
            </a:r>
          </a:p>
          <a:p>
            <a:r>
              <a:rPr lang="en-US" sz="1800" dirty="0"/>
              <a:t>Select New &gt; SQL Query </a:t>
            </a:r>
            <a:endParaRPr lang="en-GB" sz="1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36C2A3C-D8A0-B1E4-2A96-29B68D9079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82066" y="2898934"/>
            <a:ext cx="7190913" cy="3412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9411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96E0A2A-CE87-D267-9F7D-C78F3682DB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0738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3E7AC9-B58C-7D23-9443-319425014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Metabase</a:t>
            </a:r>
            <a:endParaRPr lang="en-GB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56F7AAA-3134-105F-E342-6888EECB2E6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3187" y="2677374"/>
            <a:ext cx="8724649" cy="3815501"/>
          </a:xfr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DDEDC22-AB6A-090D-4B13-A04819E536E4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Pick the data that was just added by the Airflow pipeline (Popular Destination Analysis)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24798791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7</TotalTime>
  <Words>268</Words>
  <Application>Microsoft Office PowerPoint</Application>
  <PresentationFormat>Widescreen</PresentationFormat>
  <Paragraphs>42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-apple-system</vt:lpstr>
      <vt:lpstr>Arial</vt:lpstr>
      <vt:lpstr>Calibri</vt:lpstr>
      <vt:lpstr>Calibri Light</vt:lpstr>
      <vt:lpstr>Office Theme</vt:lpstr>
      <vt:lpstr>think-cell Slide</vt:lpstr>
      <vt:lpstr>AIS-data-pipeline </vt:lpstr>
      <vt:lpstr>Pipeline Architecture</vt:lpstr>
      <vt:lpstr>Overview</vt:lpstr>
      <vt:lpstr>Running containers</vt:lpstr>
      <vt:lpstr>Airflow</vt:lpstr>
      <vt:lpstr>Airflow</vt:lpstr>
      <vt:lpstr>Airflow</vt:lpstr>
      <vt:lpstr>Metabase</vt:lpstr>
      <vt:lpstr>Metabase</vt:lpstr>
      <vt:lpstr>Metabas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S-data-pipeline</dc:title>
  <dc:creator>Hossam Heikal</dc:creator>
  <cp:lastModifiedBy>Hossam Heikal</cp:lastModifiedBy>
  <cp:revision>1</cp:revision>
  <dcterms:created xsi:type="dcterms:W3CDTF">2023-11-09T16:08:04Z</dcterms:created>
  <dcterms:modified xsi:type="dcterms:W3CDTF">2023-11-09T19:55:17Z</dcterms:modified>
</cp:coreProperties>
</file>